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1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44D10-1108-DAC5-D3DB-464939182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AD28F5C5-2DED-C40D-4305-2DE5C8002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28F5C5-2DED-C40D-4305-2DE5C8002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49BB03-7E68-0DB9-E8D4-FA2DCBA5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81921-A510-F73A-2C22-B295D89CA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Google Shape;113;p11">
            <a:extLst>
              <a:ext uri="{FF2B5EF4-FFF2-40B4-BE49-F238E27FC236}">
                <a16:creationId xmlns:a16="http://schemas.microsoft.com/office/drawing/2014/main" id="{8832A827-7C03-21E8-2E0A-1CD0F34BA26B}"/>
              </a:ext>
            </a:extLst>
          </p:cNvPr>
          <p:cNvSpPr/>
          <p:nvPr/>
        </p:nvSpPr>
        <p:spPr>
          <a:xfrm>
            <a:off x="0" y="6220908"/>
            <a:ext cx="12193200" cy="4571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34275" tIns="17125" rIns="34275" bIns="171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0" name="Google Shape;92;p11">
            <a:extLst>
              <a:ext uri="{FF2B5EF4-FFF2-40B4-BE49-F238E27FC236}">
                <a16:creationId xmlns:a16="http://schemas.microsoft.com/office/drawing/2014/main" id="{8FDE1C5C-E73A-8BC0-2853-09CD6A2C3BF0}"/>
              </a:ext>
            </a:extLst>
          </p:cNvPr>
          <p:cNvSpPr/>
          <p:nvPr/>
        </p:nvSpPr>
        <p:spPr>
          <a:xfrm>
            <a:off x="599517" y="1427985"/>
            <a:ext cx="10994167" cy="11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34275" tIns="17125" rIns="34275" bIns="171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7B48877-300F-F24E-0233-EA1AD48E0D9E}"/>
              </a:ext>
            </a:extLst>
          </p:cNvPr>
          <p:cNvGrpSpPr/>
          <p:nvPr/>
        </p:nvGrpSpPr>
        <p:grpSpPr>
          <a:xfrm>
            <a:off x="1060416" y="1438132"/>
            <a:ext cx="5721384" cy="4698508"/>
            <a:chOff x="1060416" y="1147664"/>
            <a:chExt cx="5721384" cy="5436000"/>
          </a:xfrm>
        </p:grpSpPr>
        <p:cxnSp>
          <p:nvCxnSpPr>
            <p:cNvPr id="12" name="Google Shape;87;p11">
              <a:extLst>
                <a:ext uri="{FF2B5EF4-FFF2-40B4-BE49-F238E27FC236}">
                  <a16:creationId xmlns:a16="http://schemas.microsoft.com/office/drawing/2014/main" id="{17C6C00E-C9B1-A65F-D75D-8F678A754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60416" y="1147664"/>
              <a:ext cx="0" cy="5436000"/>
            </a:xfrm>
            <a:prstGeom prst="straightConnector1">
              <a:avLst/>
            </a:prstGeom>
            <a:noFill/>
            <a:ln w="19050" cap="flat" cmpd="sng">
              <a:solidFill>
                <a:schemeClr val="tx2"/>
              </a:solidFill>
              <a:prstDash val="solid"/>
              <a:round/>
              <a:headEnd type="none" w="sm" len="sm"/>
              <a:tailEnd type="oval" w="med" len="med"/>
            </a:ln>
          </p:spPr>
        </p:cxnSp>
        <p:cxnSp>
          <p:nvCxnSpPr>
            <p:cNvPr id="13" name="Google Shape;87;p11">
              <a:extLst>
                <a:ext uri="{FF2B5EF4-FFF2-40B4-BE49-F238E27FC236}">
                  <a16:creationId xmlns:a16="http://schemas.microsoft.com/office/drawing/2014/main" id="{C96E3132-50A9-F976-04E5-7BF051D62EF6}"/>
                </a:ext>
              </a:extLst>
            </p:cNvPr>
            <p:cNvCxnSpPr>
              <a:cxnSpLocks/>
            </p:cNvCxnSpPr>
            <p:nvPr/>
          </p:nvCxnSpPr>
          <p:spPr>
            <a:xfrm>
              <a:off x="6781800" y="1147664"/>
              <a:ext cx="0" cy="5436000"/>
            </a:xfrm>
            <a:prstGeom prst="straightConnector1">
              <a:avLst/>
            </a:prstGeom>
            <a:noFill/>
            <a:ln w="19050" cap="flat" cmpd="sng">
              <a:solidFill>
                <a:schemeClr val="tx2"/>
              </a:solidFill>
              <a:prstDash val="solid"/>
              <a:round/>
              <a:headEnd type="none" w="sm" len="sm"/>
              <a:tailEnd type="oval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D2CFF3-5053-67B5-5181-8B8B4DBB9947}"/>
              </a:ext>
            </a:extLst>
          </p:cNvPr>
          <p:cNvGrpSpPr/>
          <p:nvPr/>
        </p:nvGrpSpPr>
        <p:grpSpPr>
          <a:xfrm>
            <a:off x="741501" y="1908671"/>
            <a:ext cx="4025822" cy="637831"/>
            <a:chOff x="741501" y="1373963"/>
            <a:chExt cx="4025822" cy="63783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37B907D-8BA3-77F1-A69A-99E52EEF1AE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17" name="Shape1_20200714_095930">
                <a:extLst>
                  <a:ext uri="{FF2B5EF4-FFF2-40B4-BE49-F238E27FC236}">
                    <a16:creationId xmlns:a16="http://schemas.microsoft.com/office/drawing/2014/main" id="{0C95B79F-32FA-3151-30D6-5DD38D968D8B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" name="Google Shape;95;p11">
                <a:extLst>
                  <a:ext uri="{FF2B5EF4-FFF2-40B4-BE49-F238E27FC236}">
                    <a16:creationId xmlns:a16="http://schemas.microsoft.com/office/drawing/2014/main" id="{0F8FCD67-BAA2-50D6-939B-1977040E1198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349D03C-54DD-8D36-7C40-0C02782B7693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0031868-3A9E-1504-B37A-9EA94081CC51}"/>
              </a:ext>
            </a:extLst>
          </p:cNvPr>
          <p:cNvGrpSpPr/>
          <p:nvPr/>
        </p:nvGrpSpPr>
        <p:grpSpPr>
          <a:xfrm>
            <a:off x="6462885" y="1908671"/>
            <a:ext cx="4025822" cy="637831"/>
            <a:chOff x="741501" y="1373963"/>
            <a:chExt cx="4025822" cy="637831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FD54AF4-89CD-757E-8B96-BB50276DD6A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22" name="Shape1_20200714_095930">
                <a:extLst>
                  <a:ext uri="{FF2B5EF4-FFF2-40B4-BE49-F238E27FC236}">
                    <a16:creationId xmlns:a16="http://schemas.microsoft.com/office/drawing/2014/main" id="{B9CADACB-14A0-7A62-A9AA-AF5FC5941048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3" name="Google Shape;95;p11">
                <a:extLst>
                  <a:ext uri="{FF2B5EF4-FFF2-40B4-BE49-F238E27FC236}">
                    <a16:creationId xmlns:a16="http://schemas.microsoft.com/office/drawing/2014/main" id="{BC8D1924-FAD0-5B4D-6C47-53EE1CD2D806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54A0C04-1659-FCFF-5276-803928EBA40E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A3BDEEE-369E-2956-1441-867AA9D27831}"/>
              </a:ext>
            </a:extLst>
          </p:cNvPr>
          <p:cNvGrpSpPr/>
          <p:nvPr/>
        </p:nvGrpSpPr>
        <p:grpSpPr>
          <a:xfrm>
            <a:off x="741501" y="2938587"/>
            <a:ext cx="4025822" cy="637831"/>
            <a:chOff x="741501" y="1373963"/>
            <a:chExt cx="4025822" cy="637831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FA5A181-7351-16BD-E6E5-8EEE8B660E7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27" name="Shape1_20200714_095930">
                <a:extLst>
                  <a:ext uri="{FF2B5EF4-FFF2-40B4-BE49-F238E27FC236}">
                    <a16:creationId xmlns:a16="http://schemas.microsoft.com/office/drawing/2014/main" id="{3420A510-284D-8EFC-DF8D-425A9641C724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8" name="Google Shape;95;p11">
                <a:extLst>
                  <a:ext uri="{FF2B5EF4-FFF2-40B4-BE49-F238E27FC236}">
                    <a16:creationId xmlns:a16="http://schemas.microsoft.com/office/drawing/2014/main" id="{39A93CFD-59AD-FE7B-F2BD-6E2B8FD369F8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E251D99-8A98-16CF-BF3C-5A1063B0110A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4437DF8-1317-D10B-260A-B6C4C9131597}"/>
              </a:ext>
            </a:extLst>
          </p:cNvPr>
          <p:cNvGrpSpPr/>
          <p:nvPr/>
        </p:nvGrpSpPr>
        <p:grpSpPr>
          <a:xfrm>
            <a:off x="6462885" y="2938587"/>
            <a:ext cx="4025822" cy="637831"/>
            <a:chOff x="741501" y="1373963"/>
            <a:chExt cx="4025822" cy="63783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CA9304B-69DD-E68C-03D0-E561FD1F7D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32" name="Shape1_20200714_095930">
                <a:extLst>
                  <a:ext uri="{FF2B5EF4-FFF2-40B4-BE49-F238E27FC236}">
                    <a16:creationId xmlns:a16="http://schemas.microsoft.com/office/drawing/2014/main" id="{1A9742BC-BDFD-96D1-C3C4-19496774206F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3" name="Google Shape;95;p11">
                <a:extLst>
                  <a:ext uri="{FF2B5EF4-FFF2-40B4-BE49-F238E27FC236}">
                    <a16:creationId xmlns:a16="http://schemas.microsoft.com/office/drawing/2014/main" id="{A114D41E-3050-FEF0-DBA5-105F4E520B42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2F7CB5F-B2B1-8599-582E-A393E0CAFB8C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F3E01DD-72A4-A781-C8B6-DF1D115CB4D7}"/>
              </a:ext>
            </a:extLst>
          </p:cNvPr>
          <p:cNvGrpSpPr/>
          <p:nvPr/>
        </p:nvGrpSpPr>
        <p:grpSpPr>
          <a:xfrm>
            <a:off x="741501" y="3968503"/>
            <a:ext cx="4025822" cy="637831"/>
            <a:chOff x="741501" y="1373963"/>
            <a:chExt cx="4025822" cy="637831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646609D-5E18-CC41-FB9E-F0457CECE2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37" name="Shape1_20200714_095930">
                <a:extLst>
                  <a:ext uri="{FF2B5EF4-FFF2-40B4-BE49-F238E27FC236}">
                    <a16:creationId xmlns:a16="http://schemas.microsoft.com/office/drawing/2014/main" id="{6BD957F1-6F3E-AAB7-0DB1-C4D92FF13B26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8" name="Google Shape;95;p11">
                <a:extLst>
                  <a:ext uri="{FF2B5EF4-FFF2-40B4-BE49-F238E27FC236}">
                    <a16:creationId xmlns:a16="http://schemas.microsoft.com/office/drawing/2014/main" id="{63CA5022-C099-24A2-1DE2-19EF6511F752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D17CB45-8113-6F26-F988-AA737D966250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36BE1E-B98F-D7B0-D056-6826F246520C}"/>
              </a:ext>
            </a:extLst>
          </p:cNvPr>
          <p:cNvGrpSpPr/>
          <p:nvPr/>
        </p:nvGrpSpPr>
        <p:grpSpPr>
          <a:xfrm>
            <a:off x="6462885" y="3968503"/>
            <a:ext cx="4025822" cy="637831"/>
            <a:chOff x="741501" y="1373963"/>
            <a:chExt cx="4025822" cy="637831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E2842252-4B34-3AFC-A2B2-5E5F69AF65B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42" name="Shape1_20200714_095930">
                <a:extLst>
                  <a:ext uri="{FF2B5EF4-FFF2-40B4-BE49-F238E27FC236}">
                    <a16:creationId xmlns:a16="http://schemas.microsoft.com/office/drawing/2014/main" id="{D987B58B-E96A-C543-A8B1-53A286C0F5C1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43" name="Google Shape;95;p11">
                <a:extLst>
                  <a:ext uri="{FF2B5EF4-FFF2-40B4-BE49-F238E27FC236}">
                    <a16:creationId xmlns:a16="http://schemas.microsoft.com/office/drawing/2014/main" id="{538035CA-B310-9F5F-E30C-2121256A8645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AA1E2A1-8058-C478-6525-E0F9279D0016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830ECA6-0237-FF96-3666-B3ECC828E43E}"/>
              </a:ext>
            </a:extLst>
          </p:cNvPr>
          <p:cNvGrpSpPr/>
          <p:nvPr/>
        </p:nvGrpSpPr>
        <p:grpSpPr>
          <a:xfrm>
            <a:off x="741501" y="4998418"/>
            <a:ext cx="4025822" cy="637831"/>
            <a:chOff x="741501" y="1373963"/>
            <a:chExt cx="4025822" cy="637831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44A9183-8A97-2C1D-E85F-35E7C130C9A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47" name="Shape1_20200714_095930">
                <a:extLst>
                  <a:ext uri="{FF2B5EF4-FFF2-40B4-BE49-F238E27FC236}">
                    <a16:creationId xmlns:a16="http://schemas.microsoft.com/office/drawing/2014/main" id="{1EACC22E-9827-4E19-C101-084F8DABDC6A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48" name="Google Shape;95;p11">
                <a:extLst>
                  <a:ext uri="{FF2B5EF4-FFF2-40B4-BE49-F238E27FC236}">
                    <a16:creationId xmlns:a16="http://schemas.microsoft.com/office/drawing/2014/main" id="{73C1E28A-3B5E-6D77-9DD7-12DA0E506DBA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E0C3EFE-4A86-B8E9-5BAB-D8333CE8ECAC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5BC5157-EC35-D4EE-9A34-3521B4D94276}"/>
              </a:ext>
            </a:extLst>
          </p:cNvPr>
          <p:cNvGrpSpPr/>
          <p:nvPr/>
        </p:nvGrpSpPr>
        <p:grpSpPr>
          <a:xfrm>
            <a:off x="6462885" y="4998418"/>
            <a:ext cx="4025822" cy="637831"/>
            <a:chOff x="741501" y="1373963"/>
            <a:chExt cx="4025822" cy="637831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3A76EF1-9618-0D07-06EA-83980491A8A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52" name="Shape1_20200714_095930">
                <a:extLst>
                  <a:ext uri="{FF2B5EF4-FFF2-40B4-BE49-F238E27FC236}">
                    <a16:creationId xmlns:a16="http://schemas.microsoft.com/office/drawing/2014/main" id="{6A5A6932-9F7C-BC8A-A846-08ACBB26A8D4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53" name="Google Shape;95;p11">
                <a:extLst>
                  <a:ext uri="{FF2B5EF4-FFF2-40B4-BE49-F238E27FC236}">
                    <a16:creationId xmlns:a16="http://schemas.microsoft.com/office/drawing/2014/main" id="{656DF723-F278-D6AC-B343-5BF210106F62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8A34C02-5C13-AE28-DE7D-5F400D6A498D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7012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8</TotalTime>
  <Words>26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Verdan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15</cp:revision>
  <dcterms:created xsi:type="dcterms:W3CDTF">2021-03-31T02:49:57Z</dcterms:created>
  <dcterms:modified xsi:type="dcterms:W3CDTF">2025-10-16T11:12:52Z</dcterms:modified>
  <cp:category/>
</cp:coreProperties>
</file>